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0" d="100"/>
          <a:sy n="70" d="100"/>
        </p:scale>
        <p:origin x="660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3D4EB-5B99-4B12-9002-34848380D12B}" type="datetimeFigureOut">
              <a:rPr lang="en-US" smtClean="0"/>
              <a:t>29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8F02E6-7E90-48E7-B6C8-03C42B052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1174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3D4EB-5B99-4B12-9002-34848380D12B}" type="datetimeFigureOut">
              <a:rPr lang="en-US" smtClean="0"/>
              <a:t>29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8F02E6-7E90-48E7-B6C8-03C42B052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7034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3D4EB-5B99-4B12-9002-34848380D12B}" type="datetimeFigureOut">
              <a:rPr lang="en-US" smtClean="0"/>
              <a:t>29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8F02E6-7E90-48E7-B6C8-03C42B052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212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3D4EB-5B99-4B12-9002-34848380D12B}" type="datetimeFigureOut">
              <a:rPr lang="en-US" smtClean="0"/>
              <a:t>29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8F02E6-7E90-48E7-B6C8-03C42B052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715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3D4EB-5B99-4B12-9002-34848380D12B}" type="datetimeFigureOut">
              <a:rPr lang="en-US" smtClean="0"/>
              <a:t>29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8F02E6-7E90-48E7-B6C8-03C42B052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3717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3D4EB-5B99-4B12-9002-34848380D12B}" type="datetimeFigureOut">
              <a:rPr lang="en-US" smtClean="0"/>
              <a:t>29/1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8F02E6-7E90-48E7-B6C8-03C42B052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1179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3D4EB-5B99-4B12-9002-34848380D12B}" type="datetimeFigureOut">
              <a:rPr lang="en-US" smtClean="0"/>
              <a:t>29/12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8F02E6-7E90-48E7-B6C8-03C42B052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1104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3D4EB-5B99-4B12-9002-34848380D12B}" type="datetimeFigureOut">
              <a:rPr lang="en-US" smtClean="0"/>
              <a:t>29/12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8F02E6-7E90-48E7-B6C8-03C42B052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8516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3D4EB-5B99-4B12-9002-34848380D12B}" type="datetimeFigureOut">
              <a:rPr lang="en-US" smtClean="0"/>
              <a:t>29/12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8F02E6-7E90-48E7-B6C8-03C42B052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8840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3D4EB-5B99-4B12-9002-34848380D12B}" type="datetimeFigureOut">
              <a:rPr lang="en-US" smtClean="0"/>
              <a:t>29/1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8F02E6-7E90-48E7-B6C8-03C42B052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1302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3D4EB-5B99-4B12-9002-34848380D12B}" type="datetimeFigureOut">
              <a:rPr lang="en-US" smtClean="0"/>
              <a:t>29/1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8F02E6-7E90-48E7-B6C8-03C42B052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2979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55859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5" imgW="421" imgH="423" progId="TCLayout.ActiveDocument.1">
                  <p:embed/>
                </p:oleObj>
              </mc:Choice>
              <mc:Fallback>
                <p:oleObj name="think-cell Slide" r:id="rId1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43D4EB-5B99-4B12-9002-34848380D12B}" type="datetimeFigureOut">
              <a:rPr lang="en-US" smtClean="0"/>
              <a:t>29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8F02E6-7E90-48E7-B6C8-03C42B0522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2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419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65032"/>
            <a:ext cx="12192000" cy="4327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5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419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337" y="852487"/>
            <a:ext cx="10601325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444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419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90390"/>
            <a:ext cx="12192000" cy="3877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470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419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50804"/>
            <a:ext cx="12192000" cy="4956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708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419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38789"/>
            <a:ext cx="12192000" cy="5380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101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419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38789"/>
            <a:ext cx="12192000" cy="5380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06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419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662" y="1038225"/>
            <a:ext cx="9210675" cy="4781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444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419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65032"/>
            <a:ext cx="12192000" cy="432793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12647"/>
            <a:ext cx="12192000" cy="5432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167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419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65032"/>
            <a:ext cx="12192000" cy="432793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12647"/>
            <a:ext cx="12192000" cy="543270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3282"/>
            <a:ext cx="12192000" cy="5891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309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419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9470"/>
            <a:ext cx="12192000" cy="58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293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419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2970"/>
            <a:ext cx="12192000" cy="5732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829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419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675" y="2000250"/>
            <a:ext cx="10534650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436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419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025" y="2200275"/>
            <a:ext cx="10267950" cy="2457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225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419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5896"/>
            <a:ext cx="12192000" cy="504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613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419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487" y="1343025"/>
            <a:ext cx="10487025" cy="417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620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</TotalTime>
  <Words>0</Words>
  <Application>Microsoft Office PowerPoint</Application>
  <PresentationFormat>Widescreen</PresentationFormat>
  <Paragraphs>0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hammad Zohaib</dc:creator>
  <cp:lastModifiedBy>Muhammad Zohaib</cp:lastModifiedBy>
  <cp:revision>6</cp:revision>
  <dcterms:created xsi:type="dcterms:W3CDTF">2021-12-29T11:31:27Z</dcterms:created>
  <dcterms:modified xsi:type="dcterms:W3CDTF">2021-12-29T11:58:24Z</dcterms:modified>
</cp:coreProperties>
</file>